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ppt/tags/tag18.xml" ContentType="application/vnd.openxmlformats-officedocument.presentationml.tags+xml"/>
  <Override PartName="/ppt/notesSlides/notesSlide16.xml" ContentType="application/vnd.openxmlformats-officedocument.presentationml.notesSlide+xml"/>
  <Override PartName="/ppt/tags/tag19.xml" ContentType="application/vnd.openxmlformats-officedocument.presentationml.tags+xml"/>
  <Override PartName="/ppt/notesSlides/notesSlide17.xml" ContentType="application/vnd.openxmlformats-officedocument.presentationml.notesSlide+xml"/>
  <Override PartName="/ppt/tags/tag20.xml" ContentType="application/vnd.openxmlformats-officedocument.presentationml.tags+xml"/>
  <Override PartName="/ppt/notesSlides/notesSlide18.xml" ContentType="application/vnd.openxmlformats-officedocument.presentationml.notesSlide+xml"/>
  <Override PartName="/ppt/tags/tag21.xml" ContentType="application/vnd.openxmlformats-officedocument.presentationml.tags+xml"/>
  <Override PartName="/ppt/notesSlides/notesSlide19.xml" ContentType="application/vnd.openxmlformats-officedocument.presentationml.notesSlide+xml"/>
  <Override PartName="/ppt/tags/tag22.xml" ContentType="application/vnd.openxmlformats-officedocument.presentationml.tags+xml"/>
  <Override PartName="/ppt/notesSlides/notesSlide20.xml" ContentType="application/vnd.openxmlformats-officedocument.presentationml.notesSlide+xml"/>
  <Override PartName="/ppt/tags/tag23.xml" ContentType="application/vnd.openxmlformats-officedocument.presentationml.tags+xml"/>
  <Override PartName="/ppt/notesSlides/notesSlide21.xml" ContentType="application/vnd.openxmlformats-officedocument.presentationml.notesSlide+xml"/>
  <Override PartName="/ppt/tags/tag24.xml" ContentType="application/vnd.openxmlformats-officedocument.presentationml.tags+xml"/>
  <Override PartName="/ppt/notesSlides/notesSlide22.xml" ContentType="application/vnd.openxmlformats-officedocument.presentationml.notesSlide+xml"/>
  <Override PartName="/ppt/tags/tag25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26.xml" ContentType="application/vnd.openxmlformats-officedocument.presentationml.tags+xml"/>
  <Override PartName="/ppt/notesSlides/notesSlide27.xml" ContentType="application/vnd.openxmlformats-officedocument.presentationml.notesSlide+xml"/>
  <Override PartName="/ppt/tags/tag27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28.xml" ContentType="application/vnd.openxmlformats-officedocument.presentationml.tags+xml"/>
  <Override PartName="/ppt/notesSlides/notesSlide33.xml" ContentType="application/vnd.openxmlformats-officedocument.presentationml.notesSlide+xml"/>
  <Override PartName="/ppt/tags/tag29.xml" ContentType="application/vnd.openxmlformats-officedocument.presentationml.tags+xml"/>
  <Override PartName="/ppt/notesSlides/notesSlide34.xml" ContentType="application/vnd.openxmlformats-officedocument.presentationml.notesSlide+xml"/>
  <Override PartName="/ppt/tags/tag30.xml" ContentType="application/vnd.openxmlformats-officedocument.presentationml.tags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tags/tag31.xml" ContentType="application/vnd.openxmlformats-officedocument.presentationml.tags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50"/>
  </p:notesMasterIdLst>
  <p:sldIdLst>
    <p:sldId id="256" r:id="rId2"/>
    <p:sldId id="300" r:id="rId3"/>
    <p:sldId id="257" r:id="rId4"/>
    <p:sldId id="301" r:id="rId5"/>
    <p:sldId id="306" r:id="rId6"/>
    <p:sldId id="307" r:id="rId7"/>
    <p:sldId id="259" r:id="rId8"/>
    <p:sldId id="284" r:id="rId9"/>
    <p:sldId id="291" r:id="rId10"/>
    <p:sldId id="282" r:id="rId11"/>
    <p:sldId id="309" r:id="rId12"/>
    <p:sldId id="292" r:id="rId13"/>
    <p:sldId id="305" r:id="rId14"/>
    <p:sldId id="262" r:id="rId15"/>
    <p:sldId id="283" r:id="rId16"/>
    <p:sldId id="285" r:id="rId17"/>
    <p:sldId id="293" r:id="rId18"/>
    <p:sldId id="287" r:id="rId19"/>
    <p:sldId id="294" r:id="rId20"/>
    <p:sldId id="288" r:id="rId21"/>
    <p:sldId id="296" r:id="rId22"/>
    <p:sldId id="289" r:id="rId23"/>
    <p:sldId id="297" r:id="rId24"/>
    <p:sldId id="310" r:id="rId25"/>
    <p:sldId id="267" r:id="rId26"/>
    <p:sldId id="268" r:id="rId27"/>
    <p:sldId id="290" r:id="rId28"/>
    <p:sldId id="303" r:id="rId29"/>
    <p:sldId id="311" r:id="rId30"/>
    <p:sldId id="264" r:id="rId31"/>
    <p:sldId id="270" r:id="rId32"/>
    <p:sldId id="265" r:id="rId33"/>
    <p:sldId id="286" r:id="rId34"/>
    <p:sldId id="295" r:id="rId35"/>
    <p:sldId id="302" r:id="rId36"/>
    <p:sldId id="272" r:id="rId37"/>
    <p:sldId id="273" r:id="rId38"/>
    <p:sldId id="274" r:id="rId39"/>
    <p:sldId id="275" r:id="rId40"/>
    <p:sldId id="276" r:id="rId41"/>
    <p:sldId id="277" r:id="rId42"/>
    <p:sldId id="278" r:id="rId43"/>
    <p:sldId id="279" r:id="rId44"/>
    <p:sldId id="280" r:id="rId45"/>
    <p:sldId id="298" r:id="rId46"/>
    <p:sldId id="299" r:id="rId47"/>
    <p:sldId id="304" r:id="rId48"/>
    <p:sldId id="308" r:id="rId49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53" roundtripDataSignature="AMtx7mhEyWcEEzwzcRbnVabck/Ksk4ZWO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271" autoAdjust="0"/>
  </p:normalViewPr>
  <p:slideViewPr>
    <p:cSldViewPr snapToGrid="0" showGuides="1">
      <p:cViewPr varScale="1">
        <p:scale>
          <a:sx n="66" d="100"/>
          <a:sy n="66" d="100"/>
        </p:scale>
        <p:origin x="655" y="2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customschemas.google.com/relationships/presentationmetadata" Target="meta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35391312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6" name="Google Shape;19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7" name="Google Shape;197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1176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D197CF-1415-3F55-9412-9A0C583D2A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D0A54F-6F0F-6ED3-13AA-CFF0297387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BF640E-6529-98A1-EA19-BDE9D1DFD0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Email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Log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LastLogin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0B89A7-4CEC-EA18-4BA1-58C31C49BF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518821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06B7C8-BFC7-100D-91CF-6AF74DB67E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76789E6-1EA0-80CA-A002-48C98696CE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8AB06F-D86D-290B-FA37-4BC5CCFC3C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Email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Log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LastLogin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FF0901-C730-B959-BABD-34B2B76849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5524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>
          <a:extLst>
            <a:ext uri="{FF2B5EF4-FFF2-40B4-BE49-F238E27FC236}">
              <a16:creationId xmlns:a16="http://schemas.microsoft.com/office/drawing/2014/main" id="{48CDC23F-5815-265D-5964-B7CCBE5781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344eaf56fbf_3_36:notes">
            <a:extLst>
              <a:ext uri="{FF2B5EF4-FFF2-40B4-BE49-F238E27FC236}">
                <a16:creationId xmlns:a16="http://schemas.microsoft.com/office/drawing/2014/main" id="{A50CB36B-B4DB-2F04-1E9E-171BD8256D9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344eaf56fbf_3_36:notes">
            <a:extLst>
              <a:ext uri="{FF2B5EF4-FFF2-40B4-BE49-F238E27FC236}">
                <a16:creationId xmlns:a16="http://schemas.microsoft.com/office/drawing/2014/main" id="{50DA718F-DBF1-F88F-DD8A-26E81BB3051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6" name="Google Shape;236;g344eaf56fbf_3_36:notes">
            <a:extLst>
              <a:ext uri="{FF2B5EF4-FFF2-40B4-BE49-F238E27FC236}">
                <a16:creationId xmlns:a16="http://schemas.microsoft.com/office/drawing/2014/main" id="{680AB3E3-1BBC-C94A-C8CC-71D1DE13FDFA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884303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>
          <a:extLst>
            <a:ext uri="{FF2B5EF4-FFF2-40B4-BE49-F238E27FC236}">
              <a16:creationId xmlns:a16="http://schemas.microsoft.com/office/drawing/2014/main" id="{E428A4FD-39D7-C90D-7EF9-F31AC98447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344eaf56fbf_3_36:notes">
            <a:extLst>
              <a:ext uri="{FF2B5EF4-FFF2-40B4-BE49-F238E27FC236}">
                <a16:creationId xmlns:a16="http://schemas.microsoft.com/office/drawing/2014/main" id="{4A010343-F21A-3788-D412-DA6547EF81F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344eaf56fbf_3_36:notes">
            <a:extLst>
              <a:ext uri="{FF2B5EF4-FFF2-40B4-BE49-F238E27FC236}">
                <a16:creationId xmlns:a16="http://schemas.microsoft.com/office/drawing/2014/main" id="{7CC8E8BE-25D6-46FF-B8F8-00A4BD1A253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6" name="Google Shape;236;g344eaf56fbf_3_36:notes">
            <a:extLst>
              <a:ext uri="{FF2B5EF4-FFF2-40B4-BE49-F238E27FC236}">
                <a16:creationId xmlns:a16="http://schemas.microsoft.com/office/drawing/2014/main" id="{718AD8E4-DA74-6772-7E0A-7BED13AEF21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277202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g344eaf56fbf_3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2" name="Google Shape;242;g344eaf56fbf_3_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3" name="Google Shape;243;g344eaf56fbf_3_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470238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025E68-44AE-CB14-DCE8-C7F1F40FA6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537115-92CF-F45E-C467-B4C4488520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4DA45B-4EE5-5124-A135-F8D3DA8E47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Ke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Valu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etting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0F58A4-F28C-EDE2-BF4D-DEF21A896A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37192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A82DE1-04E6-D6A6-C0DD-9DEF80F190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569C5D9-770A-EF29-68AF-865EE13F5D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DA3D67-236E-3A14-0525-3D733DE14D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0781C3-512F-A639-112D-FA75F4B3FA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53005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208344-C8EA-2D9D-7F78-DD77134D09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E3950F-B8E5-4761-10B7-B3277EF19C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79AA3C-F04A-43AF-176F-099DD17793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BF2444-07CF-8491-D61F-5E60B4423E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861744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BF6162-725D-1E1D-DF96-D0C2409EE9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5A1614C-D897-6CF1-BB85-0B0186A999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648BA2-799A-C848-5683-9DFEDAE7C3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6203FF-9AB1-B422-BF0F-8418BEEF1F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4558477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D34B20-6DD6-04CB-F7CA-516687F4D4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C05E87-75D3-F4F7-3EC8-CC6F087BF7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917240-AA5E-8D74-3A34-2A4D85B0B6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5668DE-A484-A9E8-12B5-B0965FC8DD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38728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07E0D6-C6C9-BAF4-DCEA-A4F10FD83A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626375-6B85-EBF4-64EC-83884946CB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24423E-276A-D707-FF74-DEED4E0D81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3C7504-0344-E235-DEB1-9DB30DE86D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072244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5FD648-D76E-FCC4-C377-571E8E6EED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4D001A-21F9-2243-4871-CDFB0D41C7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3D963EF-D730-F922-956E-3B4B48EFEA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B1EE3E-8246-0558-C2BE-40BF416B00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92663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1027C6-F7A8-99DB-6C97-020A1BC543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551D0E-CC36-7475-153D-2A61850DFB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68F729-0BE0-39DD-8D16-C29B159FBB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torage information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9DA072-3849-2641-35BB-E5FE8823CC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329306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D65C0A-4737-1E37-53DC-6E3C468F7C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2AD736-44AB-5F7F-57AF-534EFF16B2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A49476-A048-4D10-BB7A-73D43CE362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torage information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B9472E-A8FE-EF52-63FA-3B0C88EBA8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1598228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>
          <a:extLst>
            <a:ext uri="{FF2B5EF4-FFF2-40B4-BE49-F238E27FC236}">
              <a16:creationId xmlns:a16="http://schemas.microsoft.com/office/drawing/2014/main" id="{3967E9A5-B67D-8CB1-4C82-AD9C2CA098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44eaf56fbf_0_59:notes">
            <a:extLst>
              <a:ext uri="{FF2B5EF4-FFF2-40B4-BE49-F238E27FC236}">
                <a16:creationId xmlns:a16="http://schemas.microsoft.com/office/drawing/2014/main" id="{611120E0-7ACD-615E-B2F5-B9CEAECAB38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44eaf56fbf_0_59:notes">
            <a:extLst>
              <a:ext uri="{FF2B5EF4-FFF2-40B4-BE49-F238E27FC236}">
                <a16:creationId xmlns:a16="http://schemas.microsoft.com/office/drawing/2014/main" id="{94C88D72-BDF3-7D1B-7608-E7D2F7338B1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1" name="Google Shape;271;g344eaf56fbf_0_59:notes">
            <a:extLst>
              <a:ext uri="{FF2B5EF4-FFF2-40B4-BE49-F238E27FC236}">
                <a16:creationId xmlns:a16="http://schemas.microsoft.com/office/drawing/2014/main" id="{22B0E3AF-F7C4-C055-B2CB-1CD7C7E9393C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310073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g36f56cd1dea_1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7" name="Google Shape;287;g36f56cd1dea_1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2284162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g36f76ef2d7d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3" name="Google Shape;293;g36f76ef2d7d_0_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4" name="Google Shape;294;g36f76ef2d7d_0_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8914183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F51774-10EF-B955-C8C5-186E59C390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99B8AB-22C8-72B3-4CAB-B367EA8D0C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F74D03-77F3-2C0A-CB7D-CA2FDA792B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ying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Produ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s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du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motion pr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99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7316E5-F0C7-963C-B3AD-FBCDD5AFCC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39315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>
          <a:extLst>
            <a:ext uri="{FF2B5EF4-FFF2-40B4-BE49-F238E27FC236}">
              <a16:creationId xmlns:a16="http://schemas.microsoft.com/office/drawing/2014/main" id="{2D794C46-6F92-AC6A-126B-E8865518B8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>
            <a:extLst>
              <a:ext uri="{FF2B5EF4-FFF2-40B4-BE49-F238E27FC236}">
                <a16:creationId xmlns:a16="http://schemas.microsoft.com/office/drawing/2014/main" id="{FF442A19-9F97-BF4B-3D55-660D40D4A91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>
            <a:extLst>
              <a:ext uri="{FF2B5EF4-FFF2-40B4-BE49-F238E27FC236}">
                <a16:creationId xmlns:a16="http://schemas.microsoft.com/office/drawing/2014/main" id="{8EF5C974-68AB-ADD0-0F9E-DF04F2722C4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0" name="Google Shape;250;g344eaf56fbf_0_44:notes">
            <a:extLst>
              <a:ext uri="{FF2B5EF4-FFF2-40B4-BE49-F238E27FC236}">
                <a16:creationId xmlns:a16="http://schemas.microsoft.com/office/drawing/2014/main" id="{6E83B42C-A531-CA48-F317-D0D57FEF25CA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073979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g36f56cd1dea_2_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1" name="Google Shape;201;g36f56cd1dea_2_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02" name="Google Shape;202;g36f56cd1dea_2_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7399539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g344eaf56fbf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Google Shape;256;g344eaf56fbf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7" name="Google Shape;257;g344eaf56fbf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3281263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36f56cd1dea_1_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5" name="Google Shape;305;g36f56cd1dea_1_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6" name="Google Shape;306;g36f56cd1dea_1_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592007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g36f76ef2d7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3" name="Google Shape;263;g36f76ef2d7d_0_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" name="Google Shape;264;g36f76ef2d7d_0_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4105103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5316DC-9293-D68E-E009-9A1D7D042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03E0B7-08A9-A848-0168-FE009CC7FD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BFAAC8-CA3C-1D60-5080-C1C9E0C4CC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hared objects with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06DA1A-B943-0998-4E50-5FB6CEDB2B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850964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5DBC22-7030-C280-D48D-D7C4ADB2C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B3E1D5-16D5-F644-8CD1-4C063A2A3E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3C61A00-5B59-C99E-3FB0-7D8EC3DAA3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hared objects with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11BF2C-EBD6-6873-29A3-526F22FE0F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023863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1" name="Google Shape;32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1549576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8" name="Google Shape;32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011920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Google Shape;333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4" name="Google Shape;33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3411959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Google Shape;338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9" name="Google Shape;339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952545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5" name="Google Shape;345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3487035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g36f56cd1dea_0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53" name="Google Shape;353;g36f56cd1dea_0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4" name="Google Shape;354;g36f56cd1dea_0_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18344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Google Shape;361;g36f56cd1dea_0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2" name="Google Shape;362;g36f56cd1dea_0_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3" name="Google Shape;363;g36f56cd1dea_0_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281034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g36f56cd1dea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0" name="Google Shape;370;g36f56cd1dea_0_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g36f56cd1dea_0_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035276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50664146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>
          <a:extLst>
            <a:ext uri="{FF2B5EF4-FFF2-40B4-BE49-F238E27FC236}">
              <a16:creationId xmlns:a16="http://schemas.microsoft.com/office/drawing/2014/main" id="{BBE7D3EB-1F26-C392-7502-708C5845C3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>
            <a:extLst>
              <a:ext uri="{FF2B5EF4-FFF2-40B4-BE49-F238E27FC236}">
                <a16:creationId xmlns:a16="http://schemas.microsoft.com/office/drawing/2014/main" id="{8FC8F6F8-1ADA-51E8-E3CB-BB36B191AC6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>
            <a:extLst>
              <a:ext uri="{FF2B5EF4-FFF2-40B4-BE49-F238E27FC236}">
                <a16:creationId xmlns:a16="http://schemas.microsoft.com/office/drawing/2014/main" id="{0871B23E-EA7E-B258-3212-79768B9507A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>
            <a:extLst>
              <a:ext uri="{FF2B5EF4-FFF2-40B4-BE49-F238E27FC236}">
                <a16:creationId xmlns:a16="http://schemas.microsoft.com/office/drawing/2014/main" id="{C0209A62-164D-C537-5B34-A58ED0742C1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2969583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>
          <a:extLst>
            <a:ext uri="{FF2B5EF4-FFF2-40B4-BE49-F238E27FC236}">
              <a16:creationId xmlns:a16="http://schemas.microsoft.com/office/drawing/2014/main" id="{9363A81C-A56F-762A-44A7-E30AA41909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>
            <a:extLst>
              <a:ext uri="{FF2B5EF4-FFF2-40B4-BE49-F238E27FC236}">
                <a16:creationId xmlns:a16="http://schemas.microsoft.com/office/drawing/2014/main" id="{E5012E0A-0C56-5E1E-9174-1CAB5FDF6D6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>
            <a:extLst>
              <a:ext uri="{FF2B5EF4-FFF2-40B4-BE49-F238E27FC236}">
                <a16:creationId xmlns:a16="http://schemas.microsoft.com/office/drawing/2014/main" id="{225DD7C4-DBDF-9534-F3A3-CB46BFB0AF3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>
            <a:extLst>
              <a:ext uri="{FF2B5EF4-FFF2-40B4-BE49-F238E27FC236}">
                <a16:creationId xmlns:a16="http://schemas.microsoft.com/office/drawing/2014/main" id="{4742730E-2A60-1CF5-C440-EAE7CE8EBD0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9490160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">
          <a:extLst>
            <a:ext uri="{FF2B5EF4-FFF2-40B4-BE49-F238E27FC236}">
              <a16:creationId xmlns:a16="http://schemas.microsoft.com/office/drawing/2014/main" id="{8C011F40-AD43-99FE-A8B2-9F4A6A4591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1:notes">
            <a:extLst>
              <a:ext uri="{FF2B5EF4-FFF2-40B4-BE49-F238E27FC236}">
                <a16:creationId xmlns:a16="http://schemas.microsoft.com/office/drawing/2014/main" id="{904D1962-E5A3-3D38-153A-7067D32B5C1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6" name="Google Shape;196;p1:notes">
            <a:extLst>
              <a:ext uri="{FF2B5EF4-FFF2-40B4-BE49-F238E27FC236}">
                <a16:creationId xmlns:a16="http://schemas.microsoft.com/office/drawing/2014/main" id="{00C00387-52EA-0AFA-AC90-73202BEDD66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7" name="Google Shape;197;p1:notes">
            <a:extLst>
              <a:ext uri="{FF2B5EF4-FFF2-40B4-BE49-F238E27FC236}">
                <a16:creationId xmlns:a16="http://schemas.microsoft.com/office/drawing/2014/main" id="{2CBA5438-700E-1FB1-9ACA-BF44E7D2390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369132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90762D62-2287-06E7-6816-09A9257135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7F498797-2FD5-E7D4-AB2D-31F1878CBD9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EDC655D8-EE3F-D2E7-D798-BC0BAB6372F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50C298A4-0236-8A3C-EA70-C7FB526563FF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856229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59F0BB22-B006-F7E5-981D-0BBE1C8895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FAD71BED-2083-4B56-1446-A6521767DF6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2E6A0ABF-1BBB-63A9-CD05-FA7BC30ED7A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70CFAF65-8022-5F33-A6DE-50EAFD37A9B3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055768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g344eaf56fbf_3_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6" name="Google Shape;216;g344eaf56fbf_3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47113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1E87F3-8504-5891-35A6-CA804F6EE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F996A9D-DB19-C847-8B3A-0E2B2F9E3F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D737D6-9DB4-11C5-6DAF-DEF277949B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older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ile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562794-7A35-BE6C-E7C2-7CBC8192B4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881701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6E11CA-8066-93E1-ACC2-0D06DA7D4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09B8EC-E500-626F-2B84-F7DA6F9BDB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68782B3-29B6-803B-00F7-95274AAFE2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older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ile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1B561B-BB73-3A7C-B8B4-F4CBAF6D24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5932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7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52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52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5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61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3" name="Google Shape;93;p6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61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61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6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62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9" name="Google Shape;99;p62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" name="Google Shape;100;p62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" name="Google Shape;101;p6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63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" name="Google Shape;104;p63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" name="Google Shape;105;p6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6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8" name="Google Shape;108;p6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64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64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64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64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5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5" name="Google Shape;115;p65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6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6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6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6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6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" name="Google Shape;122;p6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" name="Google Shape;123;p6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6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67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7" name="Google Shape;127;p67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p67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6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1" name="Google Shape;131;p6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" name="Google Shape;133;p69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34" name="Google Shape;134;p69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69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69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69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69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6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" name="Google Shape;141;p70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42" name="Google Shape;142;p70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70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" name="Google Shape;144;p70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70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70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7" name="Google Shape;147;p70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8" name="Google Shape;148;p70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" name="Google Shape;149;p70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" name="Google Shape;150;p7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5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5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5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1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71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71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71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71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7" name="Google Shape;157;p71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8" name="Google Shape;158;p71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" name="Google Shape;159;p71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71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71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71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71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7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7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" name="Google Shape;167;p7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7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7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7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with customer logo">
  <p:cSld name="Title slide with customer logo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7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3" name="Google Shape;173;p7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4" name="Google Shape;174;p7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5" name="Google Shape;175;p7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" name="Google Shape;176;p73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74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7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75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7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7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7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76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7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7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7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g36f76ef2d7d_1_56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700" cy="27369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1pPr>
            <a:lvl2pPr lvl="1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2pPr>
            <a:lvl3pPr lvl="2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3pPr>
            <a:lvl4pPr lvl="3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4pPr>
            <a:lvl5pPr lvl="4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5pPr>
            <a:lvl6pPr lvl="5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6pPr>
            <a:lvl7pPr lvl="6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7pPr>
            <a:lvl8pPr lvl="7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8pPr>
            <a:lvl9pPr lvl="8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9pPr>
          </a:lstStyle>
          <a:p>
            <a:endParaRPr/>
          </a:p>
        </p:txBody>
      </p:sp>
      <p:sp>
        <p:nvSpPr>
          <p:cNvPr id="192" name="Google Shape;192;g36f76ef2d7d_1_56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700" cy="1056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lvl="6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7pPr>
            <a:lvl8pPr lvl="7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8pPr>
            <a:lvl9pPr lvl="8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>
            <a:endParaRPr/>
          </a:p>
        </p:txBody>
      </p:sp>
      <p:sp>
        <p:nvSpPr>
          <p:cNvPr id="193" name="Google Shape;193;g36f76ef2d7d_1_56"/>
          <p:cNvSpPr txBox="1">
            <a:spLocks noGrp="1"/>
          </p:cNvSpPr>
          <p:nvPr>
            <p:ph type="sldNum" idx="12"/>
          </p:nvPr>
        </p:nvSpPr>
        <p:spPr>
          <a:xfrm>
            <a:off x="11296610" y="6217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427476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540485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630844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54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7" name="Google Shape;27;p5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5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1996748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2672600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7216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403294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814253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1276970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59905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5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1" name="Google Shape;31;p55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2" name="Google Shape;32;p55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3" name="Google Shape;33;p55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" name="Google Shape;34;p55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55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55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55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8" name="Google Shape;38;p55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9" name="Google Shape;39;p55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55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55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55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55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55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5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56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56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9" name="Google Shape;49;p56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0" name="Google Shape;50;p56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" name="Google Shape;51;p56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56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56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56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" name="Google Shape;55;p56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56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7" name="Google Shape;57;p56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" name="Google Shape;58;p56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5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57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2" name="Google Shape;62;p57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57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p57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57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" name="Google Shape;66;p57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57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8" name="Google Shape;68;p57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" name="Google Shape;69;p57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" name="Google Shape;70;p5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58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" name="Google Shape;73;p58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" name="Google Shape;74;p58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58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" name="Google Shape;76;p58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7" name="Google Shape;77;p58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8" name="Google Shape;78;p5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59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81;p5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2" name="Google Shape;82;p59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3" name="Google Shape;83;p59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60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6" name="Google Shape;86;p60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" name="Google Shape;87;p60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60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60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6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5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51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51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51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51"/>
          <p:cNvPicPr preferRelativeResize="0"/>
          <p:nvPr/>
        </p:nvPicPr>
        <p:blipFill rotWithShape="1">
          <a:blip r:embed="rId38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80" r:id="rId31"/>
    <p:sldLayoutId id="2147483681" r:id="rId32"/>
    <p:sldLayoutId id="2147483682" r:id="rId33"/>
    <p:sldLayoutId id="2147483683" r:id="rId34"/>
    <p:sldLayoutId id="2147483684" r:id="rId35"/>
    <p:sldLayoutId id="2147483685" r:id="rId3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5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5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6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7.xml"/><Relationship Id="rId6" Type="http://schemas.openxmlformats.org/officeDocument/2006/relationships/image" Target="../media/image20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8.xml"/><Relationship Id="rId6" Type="http://schemas.openxmlformats.org/officeDocument/2006/relationships/image" Target="../media/image21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8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9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9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0.xml"/><Relationship Id="rId6" Type="http://schemas.openxmlformats.org/officeDocument/2006/relationships/image" Target="../media/image22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0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1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.xml"/><Relationship Id="rId6" Type="http://schemas.openxmlformats.org/officeDocument/2006/relationships/image" Target="../media/image8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2.xml"/><Relationship Id="rId6" Type="http://schemas.openxmlformats.org/officeDocument/2006/relationships/image" Target="../media/image23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2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3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3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4.xml"/><Relationship Id="rId6" Type="http://schemas.openxmlformats.org/officeDocument/2006/relationships/image" Target="../media/image24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4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5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5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6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6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27.xml"/><Relationship Id="rId6" Type="http://schemas.openxmlformats.org/officeDocument/2006/relationships/image" Target="../media/image10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28.xml"/><Relationship Id="rId6" Type="http://schemas.openxmlformats.org/officeDocument/2006/relationships/image" Target="../media/image3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7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29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8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30.xml"/><Relationship Id="rId6" Type="http://schemas.openxmlformats.org/officeDocument/2006/relationships/image" Target="../media/image10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12.xml"/><Relationship Id="rId6" Type="http://schemas.openxmlformats.org/officeDocument/2006/relationships/image" Target="../media/image10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7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31.xml"/><Relationship Id="rId6" Type="http://schemas.openxmlformats.org/officeDocument/2006/relationships/image" Target="../media/image10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3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4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BD235C-7F6E-0F3E-E0C1-FAD1A4BF05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F0E725C-57E0-FA52-1C2C-E5C007BC6A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3ECA7E74-1656-BE83-D558-D6D913991F0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1153" y="261289"/>
            <a:ext cx="4519913" cy="6249470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63A4B9A-5D2B-8D46-578A-5D77244F9E98}"/>
              </a:ext>
            </a:extLst>
          </p:cNvPr>
          <p:cNvSpPr/>
          <p:nvPr/>
        </p:nvSpPr>
        <p:spPr>
          <a:xfrm>
            <a:off x="1990846" y="347241"/>
            <a:ext cx="2228126" cy="347240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4B58871-EF94-DD23-8953-7737BF714467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4218972" y="497711"/>
            <a:ext cx="3599726" cy="69448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4321334-653C-233B-294C-E9CB8D288515}"/>
              </a:ext>
            </a:extLst>
          </p:cNvPr>
          <p:cNvSpPr/>
          <p:nvPr/>
        </p:nvSpPr>
        <p:spPr>
          <a:xfrm>
            <a:off x="7818698" y="144683"/>
            <a:ext cx="2135529" cy="844952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User.Email</a:t>
            </a:r>
            <a:endParaRPr lang="en-US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06D1B77-DAD6-BE14-2773-D255D12E5CE1}"/>
              </a:ext>
            </a:extLst>
          </p:cNvPr>
          <p:cNvSpPr/>
          <p:nvPr/>
        </p:nvSpPr>
        <p:spPr>
          <a:xfrm>
            <a:off x="2621665" y="873889"/>
            <a:ext cx="1122745" cy="1001210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35CCBAF-8AF4-33A9-99D8-4FA22D2EFF06}"/>
              </a:ext>
            </a:extLst>
          </p:cNvPr>
          <p:cNvCxnSpPr>
            <a:cxnSpLocks/>
            <a:endCxn id="18" idx="1"/>
          </p:cNvCxnSpPr>
          <p:nvPr/>
        </p:nvCxnSpPr>
        <p:spPr>
          <a:xfrm>
            <a:off x="3744410" y="1394749"/>
            <a:ext cx="4074288" cy="167832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B1CA3D97-B686-25BC-AD5A-355C0F19C4BD}"/>
              </a:ext>
            </a:extLst>
          </p:cNvPr>
          <p:cNvSpPr/>
          <p:nvPr/>
        </p:nvSpPr>
        <p:spPr>
          <a:xfrm>
            <a:off x="7818698" y="1140105"/>
            <a:ext cx="2135529" cy="844952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User.AvatarURL</a:t>
            </a:r>
            <a:endParaRPr lang="en-US" dirty="0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73D73643-DFC6-70C9-E160-1F1D30191975}"/>
              </a:ext>
            </a:extLst>
          </p:cNvPr>
          <p:cNvSpPr/>
          <p:nvPr/>
        </p:nvSpPr>
        <p:spPr>
          <a:xfrm>
            <a:off x="3044142" y="1875099"/>
            <a:ext cx="752354" cy="405114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169790B8-D8ED-3527-1CD9-534270899699}"/>
              </a:ext>
            </a:extLst>
          </p:cNvPr>
          <p:cNvCxnSpPr>
            <a:cxnSpLocks/>
            <a:stCxn id="19" idx="3"/>
            <a:endCxn id="25" idx="1"/>
          </p:cNvCxnSpPr>
          <p:nvPr/>
        </p:nvCxnSpPr>
        <p:spPr>
          <a:xfrm>
            <a:off x="3796496" y="2077656"/>
            <a:ext cx="4022202" cy="480347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836ABA7-ECDF-621D-245A-F483AD4DEE7B}"/>
              </a:ext>
            </a:extLst>
          </p:cNvPr>
          <p:cNvSpPr/>
          <p:nvPr/>
        </p:nvSpPr>
        <p:spPr>
          <a:xfrm>
            <a:off x="7818698" y="2135527"/>
            <a:ext cx="2135529" cy="844952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User.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5873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BEC11D-AE1B-5E89-C529-6F1E039439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F725FE64-3EB9-3B40-5CD9-A3E18996AE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F0E725C-57E0-FA52-1C2C-E5C007BC6A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F7670C37-C011-531B-794D-3E132460FB11}"/>
              </a:ext>
            </a:extLst>
          </p:cNvPr>
          <p:cNvSpPr txBox="1"/>
          <p:nvPr/>
        </p:nvSpPr>
        <p:spPr>
          <a:xfrm>
            <a:off x="5904753" y="2205318"/>
            <a:ext cx="4291106" cy="8785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FF0000"/>
                </a:solidFill>
              </a:rPr>
              <a:t>Get user inform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F968336-9082-C084-904D-7EF54539A230}"/>
              </a:ext>
            </a:extLst>
          </p:cNvPr>
          <p:cNvSpPr txBox="1"/>
          <p:nvPr/>
        </p:nvSpPr>
        <p:spPr>
          <a:xfrm>
            <a:off x="5989899" y="2887883"/>
            <a:ext cx="451991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Email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u.AvatarURL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as Avata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B549ED-F678-2A75-0020-0D1CC53BD4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4916" y="245618"/>
            <a:ext cx="4519913" cy="6249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386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7">
          <a:extLst>
            <a:ext uri="{FF2B5EF4-FFF2-40B4-BE49-F238E27FC236}">
              <a16:creationId xmlns:a16="http://schemas.microsoft.com/office/drawing/2014/main" id="{FE779233-0E2B-F275-0C1B-76CD4DE8D3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Google Shape;238;g344eaf56fbf_3_36">
            <a:extLst>
              <a:ext uri="{FF2B5EF4-FFF2-40B4-BE49-F238E27FC236}">
                <a16:creationId xmlns:a16="http://schemas.microsoft.com/office/drawing/2014/main" id="{8D8FB9EE-DFD3-A45D-9C12-81BFE5FBD1C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Setting Fea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92FB74-62A0-258C-A0FC-9E98A1B188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0189" y="859899"/>
            <a:ext cx="10314926" cy="5791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8859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7">
          <a:extLst>
            <a:ext uri="{FF2B5EF4-FFF2-40B4-BE49-F238E27FC236}">
              <a16:creationId xmlns:a16="http://schemas.microsoft.com/office/drawing/2014/main" id="{A65292A6-B20A-3346-40D6-3A53728A04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Google Shape;238;g344eaf56fbf_3_36">
            <a:extLst>
              <a:ext uri="{FF2B5EF4-FFF2-40B4-BE49-F238E27FC236}">
                <a16:creationId xmlns:a16="http://schemas.microsoft.com/office/drawing/2014/main" id="{B0A630C1-5575-C0F9-8D60-AA7E1D60BB6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Setting Feature</a:t>
            </a:r>
            <a:endParaRPr/>
          </a:p>
        </p:txBody>
      </p:sp>
      <p:pic>
        <p:nvPicPr>
          <p:cNvPr id="239" name="Google Shape;239;g344eaf56fbf_3_36">
            <a:extLst>
              <a:ext uri="{FF2B5EF4-FFF2-40B4-BE49-F238E27FC236}">
                <a16:creationId xmlns:a16="http://schemas.microsoft.com/office/drawing/2014/main" id="{3F5F7D27-FB1E-8C48-E435-1536F99E0A03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399" y="1250400"/>
            <a:ext cx="11887201" cy="341873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186676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g344eaf56fbf_3_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etting Sample Data</a:t>
            </a:r>
            <a:endParaRPr/>
          </a:p>
        </p:txBody>
      </p:sp>
      <p:pic>
        <p:nvPicPr>
          <p:cNvPr id="246" name="Google Shape;246;g344eaf56fbf_3_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36607" y="821803"/>
            <a:ext cx="9281765" cy="59783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235180-E55E-CDAA-ADBA-ACEF497402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AD0D753-004B-7256-B36A-8C4738724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60BB0548-A6D3-7AC2-5258-F1ACB07B25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656" y="47812"/>
            <a:ext cx="5667769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67CD148-19EF-A34E-A182-8A167B0DD93A}"/>
              </a:ext>
            </a:extLst>
          </p:cNvPr>
          <p:cNvSpPr txBox="1"/>
          <p:nvPr/>
        </p:nvSpPr>
        <p:spPr>
          <a:xfrm>
            <a:off x="6251389" y="1255059"/>
            <a:ext cx="2306918" cy="50800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Get user set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35074FA-91E2-A929-B105-92B9A62DA299}"/>
              </a:ext>
            </a:extLst>
          </p:cNvPr>
          <p:cNvSpPr txBox="1"/>
          <p:nvPr/>
        </p:nvSpPr>
        <p:spPr>
          <a:xfrm>
            <a:off x="3268199" y="2602753"/>
            <a:ext cx="2306918" cy="50800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2000" dirty="0" err="1">
                <a:solidFill>
                  <a:schemeClr val="bg1"/>
                </a:solidFill>
              </a:rPr>
              <a:t>SettingKey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65FA01-E8A7-88A0-ACD1-C892B9134BAE}"/>
              </a:ext>
            </a:extLst>
          </p:cNvPr>
          <p:cNvSpPr txBox="1"/>
          <p:nvPr/>
        </p:nvSpPr>
        <p:spPr>
          <a:xfrm>
            <a:off x="3038105" y="4075953"/>
            <a:ext cx="2306918" cy="50800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/>
                </a:solidFill>
              </a:rPr>
              <a:t>SettingValue</a:t>
            </a:r>
            <a:endParaRPr lang="en-US" sz="2000" dirty="0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1CA3E3A-0509-357D-81CE-CD215B73A732}"/>
              </a:ext>
            </a:extLst>
          </p:cNvPr>
          <p:cNvCxnSpPr>
            <a:cxnSpLocks/>
            <a:stCxn id="4" idx="1"/>
          </p:cNvCxnSpPr>
          <p:nvPr/>
        </p:nvCxnSpPr>
        <p:spPr>
          <a:xfrm flipH="1" flipV="1">
            <a:off x="2037976" y="2602753"/>
            <a:ext cx="1230223" cy="254000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471A2C53-DC12-7525-D3B7-AAC51A87C1A7}"/>
              </a:ext>
            </a:extLst>
          </p:cNvPr>
          <p:cNvSpPr/>
          <p:nvPr/>
        </p:nvSpPr>
        <p:spPr>
          <a:xfrm>
            <a:off x="484094" y="2336800"/>
            <a:ext cx="1553882" cy="57374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1DBD514-6332-1F1D-6980-0D68163479E7}"/>
              </a:ext>
            </a:extLst>
          </p:cNvPr>
          <p:cNvSpPr/>
          <p:nvPr/>
        </p:nvSpPr>
        <p:spPr>
          <a:xfrm>
            <a:off x="484094" y="2982259"/>
            <a:ext cx="1673412" cy="878541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106EC768-F22F-1241-1B71-445D51359136}"/>
              </a:ext>
            </a:extLst>
          </p:cNvPr>
          <p:cNvCxnSpPr>
            <a:cxnSpLocks/>
            <a:stCxn id="5" idx="1"/>
            <a:endCxn id="10" idx="3"/>
          </p:cNvCxnSpPr>
          <p:nvPr/>
        </p:nvCxnSpPr>
        <p:spPr>
          <a:xfrm flipH="1" flipV="1">
            <a:off x="2157506" y="3421530"/>
            <a:ext cx="880599" cy="908423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700C9F84-FD1A-957D-4881-6187304A7AED}"/>
              </a:ext>
            </a:extLst>
          </p:cNvPr>
          <p:cNvSpPr txBox="1"/>
          <p:nvPr/>
        </p:nvSpPr>
        <p:spPr>
          <a:xfrm>
            <a:off x="6229648" y="2232620"/>
            <a:ext cx="397239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Ke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Valu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etting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90453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E560C6-1F07-0046-EF01-57151EB80B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7415CFE-1A8F-BE3F-715A-CF72E013C4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FE08A5B-1AA9-4358-E4D0-10B8507CD5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2493" y="719282"/>
            <a:ext cx="10967013" cy="599664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DDCD1C3-D40A-79B9-AC71-1AC5CA0AAB83}"/>
              </a:ext>
            </a:extLst>
          </p:cNvPr>
          <p:cNvSpPr txBox="1"/>
          <p:nvPr/>
        </p:nvSpPr>
        <p:spPr>
          <a:xfrm>
            <a:off x="4589156" y="2313750"/>
            <a:ext cx="2677459" cy="448235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starred objects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86B63637-6C83-F171-D838-ED9382B5D061}"/>
              </a:ext>
            </a:extLst>
          </p:cNvPr>
          <p:cNvCxnSpPr>
            <a:cxnSpLocks/>
            <a:stCxn id="5" idx="1"/>
          </p:cNvCxnSpPr>
          <p:nvPr/>
        </p:nvCxnSpPr>
        <p:spPr>
          <a:xfrm flipH="1">
            <a:off x="2702689" y="2537868"/>
            <a:ext cx="1886467" cy="500486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55100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565591-ED09-3AC0-F745-6ADE77CF74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3BC4BEC-E48B-C474-8FF1-AC2EA80586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7415CFE-1A8F-BE3F-715A-CF72E013C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0D953E3-50F3-1000-92D3-5BFB1B5EC7D8}"/>
              </a:ext>
            </a:extLst>
          </p:cNvPr>
          <p:cNvSpPr txBox="1"/>
          <p:nvPr/>
        </p:nvSpPr>
        <p:spPr>
          <a:xfrm>
            <a:off x="1005370" y="960841"/>
            <a:ext cx="2677459" cy="448235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starred objec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E14A415-C1DD-6048-EF7D-D36BF98A7F2D}"/>
              </a:ext>
            </a:extLst>
          </p:cNvPr>
          <p:cNvSpPr txBox="1"/>
          <p:nvPr/>
        </p:nvSpPr>
        <p:spPr>
          <a:xfrm>
            <a:off x="1154241" y="1828800"/>
            <a:ext cx="10238283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9812402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04B0FC-78CE-A3EE-A3D5-7E047C9824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FC3D673-5D0E-7BED-1DD4-1558FB1568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DA53CF9-A850-6124-F174-BA811AF051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7712" y="768043"/>
            <a:ext cx="11476299" cy="546602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12CF7CE-BAD8-D475-B907-85AE2D2DCFC7}"/>
              </a:ext>
            </a:extLst>
          </p:cNvPr>
          <p:cNvSpPr txBox="1"/>
          <p:nvPr/>
        </p:nvSpPr>
        <p:spPr>
          <a:xfrm>
            <a:off x="4436782" y="2490905"/>
            <a:ext cx="3318436" cy="40042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Get recent objects of an user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D25CA0F1-6322-80FC-1D6C-B37C7E3E4917}"/>
              </a:ext>
            </a:extLst>
          </p:cNvPr>
          <p:cNvCxnSpPr>
            <a:stCxn id="6" idx="1"/>
          </p:cNvCxnSpPr>
          <p:nvPr/>
        </p:nvCxnSpPr>
        <p:spPr>
          <a:xfrm flipH="1">
            <a:off x="2725797" y="2691117"/>
            <a:ext cx="1710985" cy="1412014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12556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EB5359-F9AB-410C-374B-72E6C3A2A7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C9C3737-D70E-5C3F-BF19-454BD285CF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FC3D673-5D0E-7BED-1DD4-1558FB1568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095A373A-629B-7567-4238-3055D8FFA0B5}"/>
              </a:ext>
            </a:extLst>
          </p:cNvPr>
          <p:cNvSpPr txBox="1"/>
          <p:nvPr/>
        </p:nvSpPr>
        <p:spPr>
          <a:xfrm>
            <a:off x="1096388" y="883637"/>
            <a:ext cx="3318436" cy="400423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recent objects of an us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D1C8447-DC78-ED91-26B5-889CB4BE0DB5}"/>
              </a:ext>
            </a:extLst>
          </p:cNvPr>
          <p:cNvSpPr txBox="1"/>
          <p:nvPr/>
        </p:nvSpPr>
        <p:spPr>
          <a:xfrm>
            <a:off x="854438" y="1409076"/>
            <a:ext cx="9121515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44156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bbv Software Services AG  |  </a:t>
            </a:r>
            <a:r>
              <a:rPr lang="en-CH" noProof="0" dirty="0"/>
              <a:t>Date</a:t>
            </a:r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noProof="0" dirty="0">
                <a:solidFill>
                  <a:srgbClr val="FF0000"/>
                </a:solidFill>
              </a:rPr>
              <a:t>Google Drive Database Design</a:t>
            </a:r>
          </a:p>
        </p:txBody>
      </p: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80786-C4F7-561B-A27D-951B33432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AEBF9C5-4C16-5DA2-1A35-18CD503849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2EEB3C6F-C0C2-B974-22DF-EAC8238B78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2476" y="775046"/>
            <a:ext cx="11100122" cy="593833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F8AE854-CA1C-81F9-A45D-8F96FEB4D4CD}"/>
              </a:ext>
            </a:extLst>
          </p:cNvPr>
          <p:cNvSpPr txBox="1"/>
          <p:nvPr/>
        </p:nvSpPr>
        <p:spPr>
          <a:xfrm>
            <a:off x="4815187" y="3168041"/>
            <a:ext cx="3383430" cy="41237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Get trash objects of an user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7890EE7C-2C36-E50D-1D34-8AD37943F163}"/>
              </a:ext>
            </a:extLst>
          </p:cNvPr>
          <p:cNvCxnSpPr>
            <a:stCxn id="5" idx="1"/>
          </p:cNvCxnSpPr>
          <p:nvPr/>
        </p:nvCxnSpPr>
        <p:spPr>
          <a:xfrm flipH="1">
            <a:off x="2524515" y="3374229"/>
            <a:ext cx="2290672" cy="1167222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44551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C36AEA-A1A4-BA7F-07C4-FA0ED08B48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4CD312F-0719-07E6-12F6-D27DC87916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4AEBF9C5-4C16-5DA2-1A35-18CD50384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B51B329-7A07-A54A-F750-2AE5E660B259}"/>
              </a:ext>
            </a:extLst>
          </p:cNvPr>
          <p:cNvSpPr txBox="1"/>
          <p:nvPr/>
        </p:nvSpPr>
        <p:spPr>
          <a:xfrm>
            <a:off x="529328" y="597796"/>
            <a:ext cx="3383430" cy="412376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trash objects of an us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5EBC993-D10E-F154-89F6-F6E38545C3A3}"/>
              </a:ext>
            </a:extLst>
          </p:cNvPr>
          <p:cNvSpPr txBox="1"/>
          <p:nvPr/>
        </p:nvSpPr>
        <p:spPr>
          <a:xfrm>
            <a:off x="529328" y="1424066"/>
            <a:ext cx="896411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8030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CE1BC5-FD8A-7198-3645-7596F459A0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B2AF49-55FE-0D5C-FA89-105EF794FD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9B8C40BC-0E84-C917-28C1-249240BE0E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15" y="0"/>
            <a:ext cx="11037391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0289DA7-6EFE-24F7-3385-3F4CBDD67EC3}"/>
              </a:ext>
            </a:extLst>
          </p:cNvPr>
          <p:cNvSpPr/>
          <p:nvPr/>
        </p:nvSpPr>
        <p:spPr>
          <a:xfrm>
            <a:off x="161366" y="1380565"/>
            <a:ext cx="2576048" cy="535045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01888CB-E4BC-1A15-2C90-737A280767D4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2737414" y="1515906"/>
            <a:ext cx="1300902" cy="132182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A9870113-CA4D-D6D7-B15B-FD4AB247891D}"/>
              </a:ext>
            </a:extLst>
          </p:cNvPr>
          <p:cNvSpPr txBox="1"/>
          <p:nvPr/>
        </p:nvSpPr>
        <p:spPr>
          <a:xfrm>
            <a:off x="4038316" y="1306729"/>
            <a:ext cx="1655482" cy="4183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storag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6E5A26-AE99-C7B2-9236-8B118F4A4588}"/>
              </a:ext>
            </a:extLst>
          </p:cNvPr>
          <p:cNvSpPr/>
          <p:nvPr/>
        </p:nvSpPr>
        <p:spPr>
          <a:xfrm>
            <a:off x="161365" y="3287059"/>
            <a:ext cx="10703859" cy="302409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4F3FA57-EBFF-9BFF-BABD-4A57EF81489E}"/>
              </a:ext>
            </a:extLst>
          </p:cNvPr>
          <p:cNvCxnSpPr>
            <a:cxnSpLocks/>
            <a:stCxn id="10" idx="0"/>
            <a:endCxn id="14" idx="1"/>
          </p:cNvCxnSpPr>
          <p:nvPr/>
        </p:nvCxnSpPr>
        <p:spPr>
          <a:xfrm flipV="1">
            <a:off x="5513295" y="2410807"/>
            <a:ext cx="744751" cy="876252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34E4578F-1435-226E-C8B6-F5677ABCF214}"/>
              </a:ext>
            </a:extLst>
          </p:cNvPr>
          <p:cNvSpPr txBox="1"/>
          <p:nvPr/>
        </p:nvSpPr>
        <p:spPr>
          <a:xfrm>
            <a:off x="6258046" y="2222548"/>
            <a:ext cx="2324847" cy="376518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list file by size</a:t>
            </a:r>
          </a:p>
        </p:txBody>
      </p:sp>
    </p:spTree>
    <p:extLst>
      <p:ext uri="{BB962C8B-B14F-4D97-AF65-F5344CB8AC3E}">
        <p14:creationId xmlns:p14="http://schemas.microsoft.com/office/powerpoint/2010/main" val="3882592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8E650E-9D5B-CBA3-40C0-2C83DC4008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4C7F111-2715-6993-0108-10850FD266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B2AF49-55FE-0D5C-FA89-105EF794F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3EDD39C0-0C6D-7D57-9FB8-388F40AF829B}"/>
              </a:ext>
            </a:extLst>
          </p:cNvPr>
          <p:cNvSpPr txBox="1"/>
          <p:nvPr/>
        </p:nvSpPr>
        <p:spPr>
          <a:xfrm>
            <a:off x="1185251" y="700030"/>
            <a:ext cx="1655482" cy="418353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storag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E6971DD-8074-F455-2E88-8BE3026C1C38}"/>
              </a:ext>
            </a:extLst>
          </p:cNvPr>
          <p:cNvSpPr txBox="1"/>
          <p:nvPr/>
        </p:nvSpPr>
        <p:spPr>
          <a:xfrm>
            <a:off x="7449719" y="741865"/>
            <a:ext cx="2324847" cy="376518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list file by siz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AF2988D-C6BF-FAD3-6BD8-381D80653513}"/>
              </a:ext>
            </a:extLst>
          </p:cNvPr>
          <p:cNvSpPr txBox="1"/>
          <p:nvPr/>
        </p:nvSpPr>
        <p:spPr>
          <a:xfrm>
            <a:off x="757003" y="1776334"/>
            <a:ext cx="437712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9DD975-61DC-D28E-C192-99549962518A}"/>
              </a:ext>
            </a:extLst>
          </p:cNvPr>
          <p:cNvSpPr txBox="1"/>
          <p:nvPr/>
        </p:nvSpPr>
        <p:spPr>
          <a:xfrm>
            <a:off x="7312702" y="1941226"/>
            <a:ext cx="412229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15103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2">
          <a:extLst>
            <a:ext uri="{FF2B5EF4-FFF2-40B4-BE49-F238E27FC236}">
              <a16:creationId xmlns:a16="http://schemas.microsoft.com/office/drawing/2014/main" id="{D7CF98D5-B465-B3AF-6F46-CBC23D1DC7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g344eaf56fbf_0_59">
            <a:extLst>
              <a:ext uri="{FF2B5EF4-FFF2-40B4-BE49-F238E27FC236}">
                <a16:creationId xmlns:a16="http://schemas.microsoft.com/office/drawing/2014/main" id="{CC423ADF-DBBB-5D78-AE87-D7D655DB148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Product UI</a:t>
            </a:r>
            <a:endParaRPr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39CCF8D-761F-449B-B871-16B694C9E1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20724" y="749411"/>
            <a:ext cx="7462071" cy="5801860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0E14B9D-05E2-6202-6021-88689AE1EB01}"/>
              </a:ext>
            </a:extLst>
          </p:cNvPr>
          <p:cNvSpPr/>
          <p:nvPr/>
        </p:nvSpPr>
        <p:spPr>
          <a:xfrm>
            <a:off x="2919457" y="3096228"/>
            <a:ext cx="3176543" cy="2297576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BFB5126-8CDB-E964-7FFD-FECA11D92DA0}"/>
              </a:ext>
            </a:extLst>
          </p:cNvPr>
          <p:cNvCxnSpPr>
            <a:cxnSpLocks/>
            <a:stCxn id="6" idx="1"/>
            <a:endCxn id="10" idx="2"/>
          </p:cNvCxnSpPr>
          <p:nvPr/>
        </p:nvCxnSpPr>
        <p:spPr>
          <a:xfrm flipH="1" flipV="1">
            <a:off x="1177725" y="2696901"/>
            <a:ext cx="1741732" cy="1548115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1F12B27-B303-2C3E-9C85-E12694304EF6}"/>
              </a:ext>
            </a:extLst>
          </p:cNvPr>
          <p:cNvSpPr/>
          <p:nvPr/>
        </p:nvSpPr>
        <p:spPr>
          <a:xfrm>
            <a:off x="347241" y="1847411"/>
            <a:ext cx="1660967" cy="849490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duct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C4A2526-D5AF-F565-3F31-6E85D32F90D4}"/>
              </a:ext>
            </a:extLst>
          </p:cNvPr>
          <p:cNvSpPr/>
          <p:nvPr/>
        </p:nvSpPr>
        <p:spPr>
          <a:xfrm>
            <a:off x="6302415" y="3235124"/>
            <a:ext cx="925975" cy="341454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860DF5D8-40C3-C54B-C742-948564F1B965}"/>
              </a:ext>
            </a:extLst>
          </p:cNvPr>
          <p:cNvSpPr/>
          <p:nvPr/>
        </p:nvSpPr>
        <p:spPr>
          <a:xfrm>
            <a:off x="10148361" y="2130991"/>
            <a:ext cx="1660967" cy="84949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Product.Duration</a:t>
            </a:r>
            <a:endParaRPr lang="en-US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0562C34-00F3-0072-48E1-234BC931EA3B}"/>
              </a:ext>
            </a:extLst>
          </p:cNvPr>
          <p:cNvCxnSpPr>
            <a:cxnSpLocks/>
            <a:stCxn id="13" idx="0"/>
            <a:endCxn id="14" idx="1"/>
          </p:cNvCxnSpPr>
          <p:nvPr/>
        </p:nvCxnSpPr>
        <p:spPr>
          <a:xfrm flipV="1">
            <a:off x="6765403" y="2555736"/>
            <a:ext cx="3382958" cy="679388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674DEFAB-E696-68E8-CA83-2ECD8E33974F}"/>
              </a:ext>
            </a:extLst>
          </p:cNvPr>
          <p:cNvSpPr/>
          <p:nvPr/>
        </p:nvSpPr>
        <p:spPr>
          <a:xfrm>
            <a:off x="7728152" y="4123480"/>
            <a:ext cx="634557" cy="341454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662282BB-261D-A6A2-E3C6-09A84CD24039}"/>
              </a:ext>
            </a:extLst>
          </p:cNvPr>
          <p:cNvSpPr/>
          <p:nvPr/>
        </p:nvSpPr>
        <p:spPr>
          <a:xfrm>
            <a:off x="9956415" y="5607934"/>
            <a:ext cx="1660967" cy="849490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motion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A3CE474-F334-669B-93FA-F2E29D7218FB}"/>
              </a:ext>
            </a:extLst>
          </p:cNvPr>
          <p:cNvCxnSpPr>
            <a:cxnSpLocks/>
            <a:stCxn id="18" idx="3"/>
            <a:endCxn id="19" idx="1"/>
          </p:cNvCxnSpPr>
          <p:nvPr/>
        </p:nvCxnSpPr>
        <p:spPr>
          <a:xfrm>
            <a:off x="8362709" y="4294207"/>
            <a:ext cx="1593706" cy="1738472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EBD8DE6-88BD-402B-B0D2-C618B3366B56}"/>
              </a:ext>
            </a:extLst>
          </p:cNvPr>
          <p:cNvSpPr/>
          <p:nvPr/>
        </p:nvSpPr>
        <p:spPr>
          <a:xfrm>
            <a:off x="6302415" y="3894881"/>
            <a:ext cx="1252117" cy="341454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0A7ED158-968C-3800-94B9-1B58CC9E2B08}"/>
              </a:ext>
            </a:extLst>
          </p:cNvPr>
          <p:cNvSpPr/>
          <p:nvPr/>
        </p:nvSpPr>
        <p:spPr>
          <a:xfrm>
            <a:off x="10148361" y="3386845"/>
            <a:ext cx="1660967" cy="84949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Product.Amount</a:t>
            </a:r>
            <a:endParaRPr lang="en-US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4529DDA-594C-8744-665C-D427F9633F21}"/>
              </a:ext>
            </a:extLst>
          </p:cNvPr>
          <p:cNvCxnSpPr>
            <a:cxnSpLocks/>
            <a:stCxn id="24" idx="3"/>
            <a:endCxn id="25" idx="1"/>
          </p:cNvCxnSpPr>
          <p:nvPr/>
        </p:nvCxnSpPr>
        <p:spPr>
          <a:xfrm flipV="1">
            <a:off x="7554532" y="3811590"/>
            <a:ext cx="2593829" cy="254018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987452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g36f56cd1dea_1_4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Product Feature</a:t>
            </a:r>
            <a:endParaRPr/>
          </a:p>
        </p:txBody>
      </p:sp>
      <p:pic>
        <p:nvPicPr>
          <p:cNvPr id="290" name="Google Shape;290;g36f56cd1dea_1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199" cy="463630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615B452-58FD-8786-67AD-C720BB8EE3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487181"/>
            <a:ext cx="12192000" cy="199265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F9CC1EA-9A84-1A8A-5620-37D51B9D7C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810353"/>
            <a:ext cx="12192000" cy="161441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36F9393-759F-EEA4-7CD0-E67F977E4F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2576384"/>
            <a:ext cx="12192000" cy="1705232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610CB5-568E-A900-7149-A899230E39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7B18B6E-64A8-FF13-9568-002CC3C27E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3D41FD66-AF6C-67C6-B5E8-6BA35902437A}"/>
              </a:ext>
            </a:extLst>
          </p:cNvPr>
          <p:cNvSpPr txBox="1"/>
          <p:nvPr/>
        </p:nvSpPr>
        <p:spPr>
          <a:xfrm>
            <a:off x="678182" y="377742"/>
            <a:ext cx="2324847" cy="596619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Get products can be bought by an us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698703-79D7-E5C0-EDD2-48DF762D9843}"/>
              </a:ext>
            </a:extLst>
          </p:cNvPr>
          <p:cNvSpPr txBox="1"/>
          <p:nvPr/>
        </p:nvSpPr>
        <p:spPr>
          <a:xfrm>
            <a:off x="742013" y="1663908"/>
            <a:ext cx="1003591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ying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Produ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s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du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motion pr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99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96942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US" dirty="0">
                <a:solidFill>
                  <a:srgbClr val="FF0000"/>
                </a:solidFill>
              </a:rPr>
              <a:t>Resolve permission problem in Google Drive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3638795"/>
      </p:ext>
    </p:extLst>
  </p:cSld>
  <p:clrMapOvr>
    <a:masterClrMapping/>
  </p:clrMapOvr>
  <p:transition spd="slow">
    <p:push dir="u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>
          <a:extLst>
            <a:ext uri="{FF2B5EF4-FFF2-40B4-BE49-F238E27FC236}">
              <a16:creationId xmlns:a16="http://schemas.microsoft.com/office/drawing/2014/main" id="{F1994B0B-DD69-ED2A-797B-F21A43279A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3E540764-4C0D-1AD0-0DDA-353AB5B9F1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0800" y="825996"/>
            <a:ext cx="4910399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g344eaf56fbf_0_44">
            <a:extLst>
              <a:ext uri="{FF2B5EF4-FFF2-40B4-BE49-F238E27FC236}">
                <a16:creationId xmlns:a16="http://schemas.microsoft.com/office/drawing/2014/main" id="{5D6309CE-1944-BF60-27DE-34A00755F0D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hare</a:t>
            </a:r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5BD292F-B4F7-0529-220D-20F059FD8AD8}"/>
              </a:ext>
            </a:extLst>
          </p:cNvPr>
          <p:cNvSpPr/>
          <p:nvPr/>
        </p:nvSpPr>
        <p:spPr>
          <a:xfrm>
            <a:off x="3790709" y="2494344"/>
            <a:ext cx="2801073" cy="532436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4F6C526-233D-407B-C839-73EAAF11EA63}"/>
              </a:ext>
            </a:extLst>
          </p:cNvPr>
          <p:cNvSpPr/>
          <p:nvPr/>
        </p:nvSpPr>
        <p:spPr>
          <a:xfrm>
            <a:off x="431999" y="1828800"/>
            <a:ext cx="1923449" cy="711843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SharedUser</a:t>
            </a:r>
            <a:endParaRPr lang="en-US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C64BEC5-B328-1C7F-4F0F-424CEE706100}"/>
              </a:ext>
            </a:extLst>
          </p:cNvPr>
          <p:cNvCxnSpPr>
            <a:cxnSpLocks/>
            <a:stCxn id="6" idx="1"/>
            <a:endCxn id="7" idx="3"/>
          </p:cNvCxnSpPr>
          <p:nvPr/>
        </p:nvCxnSpPr>
        <p:spPr>
          <a:xfrm flipH="1" flipV="1">
            <a:off x="2355448" y="2184722"/>
            <a:ext cx="1435261" cy="57584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F0EE231-9DFD-6AC7-48DD-0550DAA20FED}"/>
              </a:ext>
            </a:extLst>
          </p:cNvPr>
          <p:cNvSpPr/>
          <p:nvPr/>
        </p:nvSpPr>
        <p:spPr>
          <a:xfrm>
            <a:off x="4446607" y="880974"/>
            <a:ext cx="3192684" cy="532436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58817FA-17A7-83A1-9A3A-4E70004D96CD}"/>
              </a:ext>
            </a:extLst>
          </p:cNvPr>
          <p:cNvSpPr/>
          <p:nvPr/>
        </p:nvSpPr>
        <p:spPr>
          <a:xfrm>
            <a:off x="9647376" y="1147192"/>
            <a:ext cx="1923449" cy="711843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are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E237FF9-2CCD-02F6-AE50-1B9BAA0BC530}"/>
              </a:ext>
            </a:extLst>
          </p:cNvPr>
          <p:cNvCxnSpPr>
            <a:cxnSpLocks/>
            <a:stCxn id="12" idx="1"/>
            <a:endCxn id="11" idx="3"/>
          </p:cNvCxnSpPr>
          <p:nvPr/>
        </p:nvCxnSpPr>
        <p:spPr>
          <a:xfrm flipH="1" flipV="1">
            <a:off x="7639291" y="1147192"/>
            <a:ext cx="2008085" cy="355922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1246509-86CE-7169-D8DA-B9CE7D8EF92D}"/>
              </a:ext>
            </a:extLst>
          </p:cNvPr>
          <p:cNvSpPr/>
          <p:nvPr/>
        </p:nvSpPr>
        <p:spPr>
          <a:xfrm>
            <a:off x="6487609" y="3524492"/>
            <a:ext cx="1794077" cy="1423686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03643EE-2522-90A7-F749-D39BA412C787}"/>
              </a:ext>
            </a:extLst>
          </p:cNvPr>
          <p:cNvSpPr/>
          <p:nvPr/>
        </p:nvSpPr>
        <p:spPr>
          <a:xfrm>
            <a:off x="9707178" y="3996493"/>
            <a:ext cx="1923449" cy="711843"/>
          </a:xfrm>
          <a:prstGeom prst="round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ermission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9C0CD67C-B230-E1EF-9038-0C65C80B5369}"/>
              </a:ext>
            </a:extLst>
          </p:cNvPr>
          <p:cNvCxnSpPr>
            <a:cxnSpLocks/>
            <a:stCxn id="17" idx="1"/>
            <a:endCxn id="16" idx="3"/>
          </p:cNvCxnSpPr>
          <p:nvPr/>
        </p:nvCxnSpPr>
        <p:spPr>
          <a:xfrm flipH="1" flipV="1">
            <a:off x="8281686" y="4236335"/>
            <a:ext cx="1425492" cy="11608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92264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g36f56cd1dea_2_17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625475" lvl="0" indent="-676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 dirty="0"/>
              <a:t>Google Drive functions and database design as followed</a:t>
            </a:r>
            <a:endParaRPr sz="2600" dirty="0"/>
          </a:p>
          <a:p>
            <a:pPr marL="625475" lvl="0" indent="-676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 dirty="0"/>
              <a:t>Resolve Permission in Google Drive</a:t>
            </a:r>
            <a:endParaRPr sz="2600" dirty="0"/>
          </a:p>
          <a:p>
            <a:pPr marL="625475" lvl="0" indent="-676275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 dirty="0"/>
              <a:t>Full-text Search with BM25</a:t>
            </a:r>
            <a:endParaRPr sz="2600" dirty="0"/>
          </a:p>
          <a:p>
            <a:pPr marL="625475" lvl="0" indent="-641985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600"/>
              <a:buAutoNum type="arabicPeriod"/>
            </a:pPr>
            <a:r>
              <a:rPr lang="en-GB" sz="2600" dirty="0"/>
              <a:t>Q&amp;A</a:t>
            </a:r>
            <a:endParaRPr sz="2600" dirty="0"/>
          </a:p>
        </p:txBody>
      </p:sp>
      <p:sp>
        <p:nvSpPr>
          <p:cNvPr id="206" name="Google Shape;206;g36f56cd1dea_2_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GB"/>
              <a:t>Agenda</a:t>
            </a:r>
            <a:endParaRPr/>
          </a:p>
        </p:txBody>
      </p:sp>
      <p:pic>
        <p:nvPicPr>
          <p:cNvPr id="4" name="Picture Placeholder 5">
            <a:extLst>
              <a:ext uri="{FF2B5EF4-FFF2-40B4-BE49-F238E27FC236}">
                <a16:creationId xmlns:a16="http://schemas.microsoft.com/office/drawing/2014/main" id="{DE904735-A40A-530F-8CF6-1439942306A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  <a:prstGeom prst="rect">
            <a:avLst/>
          </a:prstGeom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344eaf56fbf_2_0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Table for Share feature</a:t>
            </a:r>
            <a:endParaRPr dirty="0"/>
          </a:p>
        </p:txBody>
      </p:sp>
      <p:pic>
        <p:nvPicPr>
          <p:cNvPr id="260" name="Google Shape;260;g344eaf56fbf_2_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201" cy="44344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4435959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white and yellow file with black text&#10;&#10;Description automatically generated">
            <a:extLst>
              <a:ext uri="{FF2B5EF4-FFF2-40B4-BE49-F238E27FC236}">
                <a16:creationId xmlns:a16="http://schemas.microsoft.com/office/drawing/2014/main" id="{BA9A377A-07F9-E31C-2AD5-7D7378E2B8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0707" y="1098000"/>
            <a:ext cx="8470585" cy="21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316" name="Subtitle 2">
            <a:extLst>
              <a:ext uri="{FF2B5EF4-FFF2-40B4-BE49-F238E27FC236}">
                <a16:creationId xmlns:a16="http://schemas.microsoft.com/office/drawing/2014/main" id="{B1CC62EF-32E8-6BE3-244E-7267339886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</p:spPr>
        <p:txBody>
          <a:bodyPr/>
          <a:lstStyle/>
          <a:p>
            <a:r>
              <a:rPr lang="en-US" dirty="0"/>
              <a:t>Track folder position in family tree</a:t>
            </a:r>
          </a:p>
        </p:txBody>
      </p:sp>
      <p:sp>
        <p:nvSpPr>
          <p:cNvPr id="309" name="Google Shape;309;g36f56cd1dea_1_1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</p:spPr>
        <p:txBody>
          <a:bodyPr spcFirstLastPara="1" wrap="square" lIns="0" tIns="0" rIns="0" bIns="0" anchor="b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Add column “Path” to table folder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3CA0385-69E7-0241-8BF9-78509C48485C}"/>
              </a:ext>
            </a:extLst>
          </p:cNvPr>
          <p:cNvSpPr txBox="1"/>
          <p:nvPr/>
        </p:nvSpPr>
        <p:spPr>
          <a:xfrm>
            <a:off x="481559" y="411991"/>
            <a:ext cx="664439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800" b="1" dirty="0">
                <a:solidFill>
                  <a:schemeClr val="bg2"/>
                </a:solidFill>
              </a:rPr>
              <a:t>Sample data for share feature</a:t>
            </a:r>
            <a:endParaRPr lang="en-US" sz="2800" b="1" dirty="0">
              <a:solidFill>
                <a:schemeClr val="bg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79DF911-4ABF-2BFC-BF9E-24E6CAE40A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281" y="3553532"/>
            <a:ext cx="8913610" cy="200321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C272BD5-8F6C-619C-2A71-0DCB88CBB3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56474" y="3663096"/>
            <a:ext cx="2664714" cy="166788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CF3EC9B-EBF6-C2DC-3762-00166F1722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031216"/>
            <a:ext cx="12192000" cy="1323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49346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23D665-7ABA-C506-EADF-63209657AA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45B9ADD-0B04-1A50-1E8C-C37DCA432F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45B9ADD-0B04-1A50-1E8C-C37DCA432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5ECBE74-E71A-86B3-3C3B-816FF189E7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0902" y="672702"/>
            <a:ext cx="10712369" cy="576484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87A5ACE-E271-3AF3-1816-E9828F834DC5}"/>
              </a:ext>
            </a:extLst>
          </p:cNvPr>
          <p:cNvSpPr txBox="1"/>
          <p:nvPr/>
        </p:nvSpPr>
        <p:spPr>
          <a:xfrm>
            <a:off x="4196603" y="2300378"/>
            <a:ext cx="3798793" cy="472141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Get shared objects with an user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BE896A5B-E957-D947-73AD-393D0B1B8995}"/>
              </a:ext>
            </a:extLst>
          </p:cNvPr>
          <p:cNvCxnSpPr>
            <a:stCxn id="5" idx="1"/>
          </p:cNvCxnSpPr>
          <p:nvPr/>
        </p:nvCxnSpPr>
        <p:spPr>
          <a:xfrm flipH="1">
            <a:off x="2083633" y="2536449"/>
            <a:ext cx="2112970" cy="892551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88073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701D08-C4AE-5F93-72F0-BC2650C48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011132E3-94A8-B541-3696-7A7D21F30E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011132E3-94A8-B541-3696-7A7D21F30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73B47F-FCAF-D10E-1396-F83D56255DE0}"/>
              </a:ext>
            </a:extLst>
          </p:cNvPr>
          <p:cNvSpPr txBox="1"/>
          <p:nvPr/>
        </p:nvSpPr>
        <p:spPr>
          <a:xfrm>
            <a:off x="441565" y="259780"/>
            <a:ext cx="9976597" cy="646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252DE9-3784-8C3C-50DC-E7D403017F72}"/>
              </a:ext>
            </a:extLst>
          </p:cNvPr>
          <p:cNvSpPr txBox="1"/>
          <p:nvPr/>
        </p:nvSpPr>
        <p:spPr>
          <a:xfrm>
            <a:off x="6486671" y="2806295"/>
            <a:ext cx="3798793" cy="472141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shared objects with an user</a:t>
            </a:r>
          </a:p>
        </p:txBody>
      </p:sp>
    </p:spTree>
    <p:extLst>
      <p:ext uri="{BB962C8B-B14F-4D97-AF65-F5344CB8AC3E}">
        <p14:creationId xmlns:p14="http://schemas.microsoft.com/office/powerpoint/2010/main" val="287445918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pPr lvl="0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3140"/>
            </a:pPr>
            <a:r>
              <a:rPr lang="en-GB" sz="4800" dirty="0">
                <a:solidFill>
                  <a:srgbClr val="FF0000"/>
                </a:solidFill>
              </a:rPr>
              <a:t>Full-text Search with BM25</a:t>
            </a:r>
          </a:p>
        </p:txBody>
      </p:sp>
    </p:spTree>
    <p:extLst>
      <p:ext uri="{BB962C8B-B14F-4D97-AF65-F5344CB8AC3E}">
        <p14:creationId xmlns:p14="http://schemas.microsoft.com/office/powerpoint/2010/main" val="4276421325"/>
      </p:ext>
    </p:extLst>
  </p:cSld>
  <p:clrMapOvr>
    <a:masterClrMapping/>
  </p:clrMapOvr>
  <p:transition spd="slow">
    <p:push dir="u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3" name="Google Shape;323;p2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4660" b="4660"/>
          <a:stretch/>
        </p:blipFill>
        <p:spPr>
          <a:xfrm>
            <a:off x="1101175" y="1375675"/>
            <a:ext cx="9602475" cy="170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324" name="Google Shape;324;p2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/>
              <a:t>How to score in BM25 ?</a:t>
            </a:r>
            <a:endParaRPr/>
          </a:p>
        </p:txBody>
      </p:sp>
      <p:sp>
        <p:nvSpPr>
          <p:cNvPr id="325" name="Google Shape;325;p2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WHAT IS BM25 ?</a:t>
            </a:r>
            <a:endParaRPr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"/>
          <p:cNvSpPr txBox="1">
            <a:spLocks noGrp="1"/>
          </p:cNvSpPr>
          <p:nvPr>
            <p:ph type="subTitle" idx="1"/>
          </p:nvPr>
        </p:nvSpPr>
        <p:spPr>
          <a:xfrm>
            <a:off x="140945" y="4480023"/>
            <a:ext cx="11331300" cy="3693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l="-1609" t="-24998" b="-351623"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/>
              <a:t> </a:t>
            </a:r>
            <a:endParaRPr/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n(qi) is the number of documents containing qi a.k.a df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|D| : Length of document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avgdl : Average document length in the collection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  <p:pic>
        <p:nvPicPr>
          <p:cNvPr id="331" name="Google Shape;331;p3"/>
          <p:cNvPicPr preferRelativeResize="0">
            <a:picLocks noGrp="1"/>
          </p:cNvPicPr>
          <p:nvPr>
            <p:ph type="pic" idx="2"/>
          </p:nvPr>
        </p:nvPicPr>
        <p:blipFill rotWithShape="1">
          <a:blip r:embed="rId4">
            <a:alphaModFix/>
          </a:blip>
          <a:srcRect t="-547" b="-913"/>
          <a:stretch/>
        </p:blipFill>
        <p:spPr>
          <a:xfrm>
            <a:off x="1762375" y="1389700"/>
            <a:ext cx="8863651" cy="2266125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4"/>
          <p:cNvSpPr txBox="1">
            <a:spLocks noGrp="1"/>
          </p:cNvSpPr>
          <p:nvPr>
            <p:ph type="subTitle" idx="1"/>
          </p:nvPr>
        </p:nvSpPr>
        <p:spPr>
          <a:xfrm>
            <a:off x="223655" y="3854005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b="1"/>
              <a:t>k_1</a:t>
            </a:r>
            <a:r>
              <a:rPr lang="en-GB"/>
              <a:t>: A parameter (typically 1.2 to 2.0) controlling the impact of term frequency. Higher values allow more influence from frequent terms.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b="1"/>
              <a:t>b</a:t>
            </a:r>
            <a:r>
              <a:rPr lang="en-GB"/>
              <a:t>: A parameter (typically 0.75) controlling the effect of document length normalization. b=0 disables length normalization, while fully normalizes by document length.</a:t>
            </a:r>
            <a:endParaRPr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p5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 dirty="0"/>
              <a:t>HOW DOES IT WORKS ? </a:t>
            </a:r>
            <a:endParaRPr dirty="0"/>
          </a:p>
        </p:txBody>
      </p:sp>
      <p:pic>
        <p:nvPicPr>
          <p:cNvPr id="342" name="Google Shape;342;p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308050" y="859400"/>
            <a:ext cx="5480550" cy="319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800" dirty="0">
                <a:solidFill>
                  <a:srgbClr val="FF0000"/>
                </a:solidFill>
              </a:rPr>
              <a:t>Google Drive functions and database design as followed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p:transition spd="slow">
    <p:push dir="u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Google Shape;348;p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dirty="0"/>
              <a:t>Tokenization</a:t>
            </a:r>
            <a:endParaRPr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851A98F-74C3-D762-4FB7-970AF03F0B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89721"/>
            <a:ext cx="12192000" cy="133858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993BA02-D6FF-44C0-8797-4B05922392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440" y="3567750"/>
            <a:ext cx="10945753" cy="2000529"/>
          </a:xfrm>
          <a:prstGeom prst="rect">
            <a:avLst/>
          </a:prstGeom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Google Shape;356;g36f56cd1dea_0_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=3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(qi)=df(documentfrequency)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7" name="Google Shape;357;g36f56cd1dea_0_4"/>
          <p:cNvSpPr txBox="1">
            <a:spLocks noGrp="1"/>
          </p:cNvSpPr>
          <p:nvPr>
            <p:ph type="title"/>
          </p:nvPr>
        </p:nvSpPr>
        <p:spPr>
          <a:xfrm>
            <a:off x="548449" y="232925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 sz="2700"/>
              <a:t>Caculate IDF ( InverseIndexFrequency)</a:t>
            </a:r>
            <a:endParaRPr sz="27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59" name="Google Shape;359;g36f56cd1dea_0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32000" y="3661928"/>
            <a:ext cx="4572000" cy="9239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69DF12A-0C7C-02A8-BCD6-AB4D9F18EA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1988" y="1284336"/>
            <a:ext cx="5921563" cy="3731396"/>
          </a:xfrm>
          <a:prstGeom prst="rect">
            <a:avLst/>
          </a:prstGeom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table&#10;&#10;Description automatically generated">
            <a:extLst>
              <a:ext uri="{FF2B5EF4-FFF2-40B4-BE49-F238E27FC236}">
                <a16:creationId xmlns:a16="http://schemas.microsoft.com/office/drawing/2014/main" id="{3949A275-C817-97DE-52B3-C262834FBA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1640" y="1325880"/>
            <a:ext cx="6096000" cy="4206239"/>
          </a:xfrm>
          <a:prstGeom prst="rect">
            <a:avLst/>
          </a:prstGeom>
          <a:noFill/>
          <a:ln>
            <a:noFill/>
          </a:ln>
        </p:spPr>
      </p:pic>
      <p:sp>
        <p:nvSpPr>
          <p:cNvPr id="365" name="Google Shape;365;g36f56cd1dea_0_11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</p:spPr>
        <p:txBody>
          <a:bodyPr spcFirstLastPara="1" wrap="square" lIns="0" tIns="0" rIns="0" bIns="0" anchor="t" anchorCtr="0">
            <a:normAutofit/>
          </a:bodyPr>
          <a:lstStyle/>
          <a:p>
            <a:pPr marL="0" lvl="0" indent="0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Tf = ApperanceCount / |D|</a:t>
            </a:r>
            <a:endParaRPr lang="en-US"/>
          </a:p>
        </p:txBody>
      </p:sp>
      <p:sp>
        <p:nvSpPr>
          <p:cNvPr id="366" name="Google Shape;366;g36f56cd1dea_0_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F (TermFrequency)</a:t>
            </a:r>
            <a:endParaRPr lang="en-US"/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Google Shape;373;g36f56cd1dea_0_18"/>
          <p:cNvSpPr txBox="1">
            <a:spLocks noGrp="1"/>
          </p:cNvSpPr>
          <p:nvPr>
            <p:ph type="body" idx="1"/>
          </p:nvPr>
        </p:nvSpPr>
        <p:spPr>
          <a:xfrm>
            <a:off x="432000" y="11677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k1=1.2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b=0.75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avgdl=5.67</a:t>
            </a:r>
            <a:endParaRPr/>
          </a:p>
        </p:txBody>
      </p:sp>
      <p:sp>
        <p:nvSpPr>
          <p:cNvPr id="374" name="Google Shape;374;g36f56cd1dea_0_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tal Score</a:t>
            </a:r>
            <a:endParaRPr/>
          </a:p>
        </p:txBody>
      </p:sp>
      <p:pic>
        <p:nvPicPr>
          <p:cNvPr id="376" name="Google Shape;376;g36f56cd1dea_0_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122323" y="1872338"/>
            <a:ext cx="8324076" cy="1346125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D2B737B-42C4-153D-58AC-2DBD7E850D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992801"/>
            <a:ext cx="12192000" cy="887406"/>
          </a:xfrm>
          <a:prstGeom prst="rect">
            <a:avLst/>
          </a:prstGeom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g36f56cd1dea_2_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QL Implement Full Text Search BM25</a:t>
            </a:r>
            <a:endParaRPr/>
          </a:p>
        </p:txBody>
      </p:sp>
      <p:pic>
        <p:nvPicPr>
          <p:cNvPr id="383" name="Google Shape;383;g36f56cd1dea_2_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0825" y="1098550"/>
            <a:ext cx="11887203" cy="538933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>
          <a:extLst>
            <a:ext uri="{FF2B5EF4-FFF2-40B4-BE49-F238E27FC236}">
              <a16:creationId xmlns:a16="http://schemas.microsoft.com/office/drawing/2014/main" id="{3CE8DB58-4689-D514-DFC7-61EF670131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34102E69-A0D8-95F1-B75A-20A6FB0C0F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8986" y="1098000"/>
            <a:ext cx="9974027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382" name="Google Shape;382;g36f56cd1dea_2_0">
            <a:extLst>
              <a:ext uri="{FF2B5EF4-FFF2-40B4-BE49-F238E27FC236}">
                <a16:creationId xmlns:a16="http://schemas.microsoft.com/office/drawing/2014/main" id="{E2F2D270-5FE6-071B-6A9B-F1637A45784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QL Implement Full Text Search BM25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5C889EF-BFCC-B503-F822-E14D4BB29A90}"/>
              </a:ext>
            </a:extLst>
          </p:cNvPr>
          <p:cNvSpPr txBox="1"/>
          <p:nvPr/>
        </p:nvSpPr>
        <p:spPr>
          <a:xfrm>
            <a:off x="6153462" y="2608289"/>
            <a:ext cx="3013023" cy="92333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Get 5 most relevant files/folder related to keyword ‘report’</a:t>
            </a:r>
          </a:p>
        </p:txBody>
      </p:sp>
    </p:spTree>
    <p:extLst>
      <p:ext uri="{BB962C8B-B14F-4D97-AF65-F5344CB8AC3E}">
        <p14:creationId xmlns:p14="http://schemas.microsoft.com/office/powerpoint/2010/main" val="133609370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>
          <a:extLst>
            <a:ext uri="{FF2B5EF4-FFF2-40B4-BE49-F238E27FC236}">
              <a16:creationId xmlns:a16="http://schemas.microsoft.com/office/drawing/2014/main" id="{6FF1C766-C1CD-006B-DCFF-E3BA2A9305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g36f56cd1dea_2_0">
            <a:extLst>
              <a:ext uri="{FF2B5EF4-FFF2-40B4-BE49-F238E27FC236}">
                <a16:creationId xmlns:a16="http://schemas.microsoft.com/office/drawing/2014/main" id="{C19FA53F-0143-8F3A-DB98-00037169DA5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QL Implement Full Text Search BM25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7412E31-645A-6A26-2B11-E7F232629AA0}"/>
              </a:ext>
            </a:extLst>
          </p:cNvPr>
          <p:cNvSpPr txBox="1"/>
          <p:nvPr/>
        </p:nvSpPr>
        <p:spPr>
          <a:xfrm>
            <a:off x="307299" y="891915"/>
            <a:ext cx="3013023" cy="92333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tx1"/>
                </a:solidFill>
              </a:rPr>
              <a:t>Get 5 most relevant files/folder related to keyword ‘report’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EB7B6EB-2B69-598D-F648-6AFEF6AF15CA}"/>
              </a:ext>
            </a:extLst>
          </p:cNvPr>
          <p:cNvSpPr txBox="1"/>
          <p:nvPr/>
        </p:nvSpPr>
        <p:spPr>
          <a:xfrm>
            <a:off x="524656" y="2420911"/>
            <a:ext cx="10163331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SELECT</a:t>
            </a:r>
          </a:p>
          <a:p>
            <a:r>
              <a:rPr lang="en-US" sz="1800" dirty="0"/>
              <a:t>	</a:t>
            </a:r>
            <a:r>
              <a:rPr lang="en-US" sz="1800" dirty="0" err="1"/>
              <a:t>s.ObjectTypeId</a:t>
            </a:r>
            <a:r>
              <a:rPr lang="en-US" sz="1800" dirty="0"/>
              <a:t>, </a:t>
            </a:r>
          </a:p>
          <a:p>
            <a:r>
              <a:rPr lang="en-US" sz="1800" dirty="0"/>
              <a:t>	</a:t>
            </a:r>
            <a:r>
              <a:rPr lang="en-US" sz="1800" dirty="0" err="1"/>
              <a:t>s.ObjectId</a:t>
            </a:r>
            <a:r>
              <a:rPr lang="en-US" sz="1800" dirty="0"/>
              <a:t>,  </a:t>
            </a:r>
          </a:p>
          <a:p>
            <a:r>
              <a:rPr lang="en-US" sz="1800" dirty="0"/>
              <a:t>	</a:t>
            </a:r>
            <a:r>
              <a:rPr lang="en-US" sz="1800" dirty="0" err="1"/>
              <a:t>s.Term</a:t>
            </a:r>
            <a:r>
              <a:rPr lang="en-US" sz="1800" dirty="0"/>
              <a:t>, </a:t>
            </a:r>
          </a:p>
          <a:p>
            <a:r>
              <a:rPr lang="en-US" sz="1800" dirty="0"/>
              <a:t>	t.BM25</a:t>
            </a:r>
          </a:p>
          <a:p>
            <a:r>
              <a:rPr lang="en-US" sz="1800" dirty="0"/>
              <a:t>FROM </a:t>
            </a:r>
            <a:r>
              <a:rPr lang="en-US" sz="1800" dirty="0" err="1"/>
              <a:t>SearchIndex</a:t>
            </a:r>
            <a:r>
              <a:rPr lang="en-US" sz="1800" dirty="0"/>
              <a:t> s</a:t>
            </a:r>
          </a:p>
          <a:p>
            <a:r>
              <a:rPr lang="en-US" sz="1800" dirty="0"/>
              <a:t>join TermBM25 t on </a:t>
            </a:r>
            <a:r>
              <a:rPr lang="en-US" sz="1800" dirty="0" err="1"/>
              <a:t>s.Term</a:t>
            </a:r>
            <a:r>
              <a:rPr lang="en-US" sz="1800" dirty="0"/>
              <a:t> = </a:t>
            </a:r>
            <a:r>
              <a:rPr lang="en-US" sz="1800" dirty="0" err="1"/>
              <a:t>t.Term</a:t>
            </a:r>
            <a:endParaRPr lang="en-US" sz="1800" dirty="0"/>
          </a:p>
          <a:p>
            <a:r>
              <a:rPr lang="en-US" sz="1800" dirty="0"/>
              <a:t>left join Folder f on </a:t>
            </a:r>
            <a:r>
              <a:rPr lang="en-US" sz="1800" dirty="0" err="1"/>
              <a:t>f.Id</a:t>
            </a:r>
            <a:r>
              <a:rPr lang="en-US" sz="1800" dirty="0"/>
              <a:t> = </a:t>
            </a:r>
            <a:r>
              <a:rPr lang="en-US" sz="1800" dirty="0" err="1"/>
              <a:t>s.ObjectId</a:t>
            </a:r>
            <a:r>
              <a:rPr lang="en-US" sz="1800" dirty="0"/>
              <a:t> and </a:t>
            </a:r>
            <a:r>
              <a:rPr lang="en-US" sz="1800" dirty="0" err="1"/>
              <a:t>s.ObjectTypeId</a:t>
            </a:r>
            <a:r>
              <a:rPr lang="en-US" sz="1800" dirty="0"/>
              <a:t> = 1</a:t>
            </a:r>
          </a:p>
          <a:p>
            <a:r>
              <a:rPr lang="en-US" sz="1800" dirty="0"/>
              <a:t>left join Files fi on </a:t>
            </a:r>
            <a:r>
              <a:rPr lang="en-US" sz="1800" dirty="0" err="1"/>
              <a:t>fi.Id</a:t>
            </a:r>
            <a:r>
              <a:rPr lang="en-US" sz="1800" dirty="0"/>
              <a:t> = </a:t>
            </a:r>
            <a:r>
              <a:rPr lang="en-US" sz="1800" dirty="0" err="1"/>
              <a:t>s.ObjectId</a:t>
            </a:r>
            <a:r>
              <a:rPr lang="en-US" sz="1800" dirty="0"/>
              <a:t> and </a:t>
            </a:r>
            <a:r>
              <a:rPr lang="en-US" sz="1800" dirty="0" err="1"/>
              <a:t>s.ObjectTypeId</a:t>
            </a:r>
            <a:r>
              <a:rPr lang="en-US" sz="1800" dirty="0"/>
              <a:t> = 2</a:t>
            </a:r>
          </a:p>
          <a:p>
            <a:r>
              <a:rPr lang="en-US" sz="1800" dirty="0"/>
              <a:t>WHERE </a:t>
            </a:r>
            <a:r>
              <a:rPr lang="en-US" sz="1800" dirty="0" err="1"/>
              <a:t>t.Term</a:t>
            </a:r>
            <a:r>
              <a:rPr lang="en-US" sz="1800" dirty="0"/>
              <a:t> IN ('report')</a:t>
            </a:r>
          </a:p>
          <a:p>
            <a:r>
              <a:rPr lang="en-US" sz="1800" dirty="0"/>
              <a:t>ORDER BY t.BM25 DESC;</a:t>
            </a:r>
          </a:p>
        </p:txBody>
      </p:sp>
    </p:spTree>
    <p:extLst>
      <p:ext uri="{BB962C8B-B14F-4D97-AF65-F5344CB8AC3E}">
        <p14:creationId xmlns:p14="http://schemas.microsoft.com/office/powerpoint/2010/main" val="423156118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>
                <a:solidFill>
                  <a:srgbClr val="FF0000"/>
                </a:solidFill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2788836881"/>
      </p:ext>
    </p:extLst>
  </p:cSld>
  <p:clrMapOvr>
    <a:masterClrMapping/>
  </p:clrMapOvr>
  <p:transition spd="slow">
    <p:push dir="u"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">
          <a:extLst>
            <a:ext uri="{FF2B5EF4-FFF2-40B4-BE49-F238E27FC236}">
              <a16:creationId xmlns:a16="http://schemas.microsoft.com/office/drawing/2014/main" id="{1D22BD27-EC8E-0153-A7E4-8670058E65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14591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AAB8BA30-F239-E72E-5BC8-C0D70F647E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919577-A20E-1BE8-FEAB-8EFFED4C03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9" y="982943"/>
            <a:ext cx="10971430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7E4B3C23-253F-6570-8C73-7E51B2DB706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First Scre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4414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C5DE4F0D-F9E9-A81B-FC37-F223A73F86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E1360D1-8C1E-465B-56E5-5C3DAF3C03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285" y="1098000"/>
            <a:ext cx="10971430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D3DEF6F6-5264-6775-A139-2C8610CBAEE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First Scre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451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g344eaf56fbf_3_1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Database Structure For First Screen</a:t>
            </a:r>
            <a:endParaRPr/>
          </a:p>
        </p:txBody>
      </p:sp>
      <p:pic>
        <p:nvPicPr>
          <p:cNvPr id="219" name="Google Shape;219;g344eaf56fbf_3_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201" cy="49220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E5E807-F38D-91A3-8C1E-F26B23E878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C996879-C1FB-6DEA-1D40-0902C175CE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0571" y="225706"/>
            <a:ext cx="10331878" cy="6406587"/>
          </a:xfrm>
          <a:prstGeom prst="rect">
            <a:avLst/>
          </a:prstGeom>
        </p:spPr>
      </p:pic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2514F0F-CE5E-EC6E-5D69-9018E70E1B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40CFD8D-4DE9-AC89-6802-A8930F140D1E}"/>
              </a:ext>
            </a:extLst>
          </p:cNvPr>
          <p:cNvSpPr/>
          <p:nvPr/>
        </p:nvSpPr>
        <p:spPr>
          <a:xfrm>
            <a:off x="584522" y="2003520"/>
            <a:ext cx="3414531" cy="658657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95ED4DA-D582-5CDE-4E8C-8AEF7959BFCB}"/>
              </a:ext>
            </a:extLst>
          </p:cNvPr>
          <p:cNvCxnSpPr/>
          <p:nvPr/>
        </p:nvCxnSpPr>
        <p:spPr>
          <a:xfrm flipV="1">
            <a:off x="3956424" y="1292320"/>
            <a:ext cx="2139576" cy="71120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6B5A2B9-CEB2-84EB-119D-256D1AA3B0BE}"/>
              </a:ext>
            </a:extLst>
          </p:cNvPr>
          <p:cNvSpPr txBox="1"/>
          <p:nvPr/>
        </p:nvSpPr>
        <p:spPr>
          <a:xfrm>
            <a:off x="6096000" y="1086132"/>
            <a:ext cx="2061882" cy="41237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fol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ACB6A3-62EE-FAEE-0089-62797F3D9F93}"/>
              </a:ext>
            </a:extLst>
          </p:cNvPr>
          <p:cNvSpPr/>
          <p:nvPr/>
        </p:nvSpPr>
        <p:spPr>
          <a:xfrm>
            <a:off x="4087549" y="3572821"/>
            <a:ext cx="3357923" cy="305947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55AB6F-C88C-FF5B-EA8C-DEF663B60113}"/>
              </a:ext>
            </a:extLst>
          </p:cNvPr>
          <p:cNvSpPr txBox="1"/>
          <p:nvPr/>
        </p:nvSpPr>
        <p:spPr>
          <a:xfrm>
            <a:off x="8365147" y="4840943"/>
            <a:ext cx="1631577" cy="41237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file</a:t>
            </a:r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24D771F3-5CDD-7A5C-BB57-85F18DBB0493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7378672" y="5047131"/>
            <a:ext cx="986475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85289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EABF97-AD47-E779-68F5-D510B68CBB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A8C3CD0-7F70-3002-F3A8-B84EE03EA6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2514F0F-CE5E-EC6E-5D69-9018E70E1B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697BF7C-F446-8A44-6D0C-394ADDAE817A}"/>
              </a:ext>
            </a:extLst>
          </p:cNvPr>
          <p:cNvSpPr txBox="1"/>
          <p:nvPr/>
        </p:nvSpPr>
        <p:spPr>
          <a:xfrm>
            <a:off x="7136837" y="755632"/>
            <a:ext cx="2061882" cy="412376"/>
          </a:xfrm>
          <a:prstGeom prst="rect">
            <a:avLst/>
          </a:prstGeom>
          <a:noFill/>
          <a:ln w="19050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fold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B3AC0A-B1B8-43D1-77E0-989326FA1BA6}"/>
              </a:ext>
            </a:extLst>
          </p:cNvPr>
          <p:cNvSpPr txBox="1"/>
          <p:nvPr/>
        </p:nvSpPr>
        <p:spPr>
          <a:xfrm>
            <a:off x="1189317" y="773072"/>
            <a:ext cx="1631577" cy="412376"/>
          </a:xfrm>
          <a:prstGeom prst="rect">
            <a:avLst/>
          </a:prstGeom>
          <a:noFill/>
          <a:ln w="19050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fi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75645FA-1F11-5164-9226-4BE78E55C751}"/>
              </a:ext>
            </a:extLst>
          </p:cNvPr>
          <p:cNvSpPr txBox="1"/>
          <p:nvPr/>
        </p:nvSpPr>
        <p:spPr>
          <a:xfrm>
            <a:off x="7136837" y="1566472"/>
            <a:ext cx="369355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C0371D-ED94-FC15-8FDB-28223CE8FEC6}"/>
              </a:ext>
            </a:extLst>
          </p:cNvPr>
          <p:cNvSpPr txBox="1"/>
          <p:nvPr/>
        </p:nvSpPr>
        <p:spPr>
          <a:xfrm>
            <a:off x="974115" y="1566472"/>
            <a:ext cx="559907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</a:p>
          <a:p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.Ic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0300279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50</TotalTime>
  <Words>3140</Words>
  <Application>Microsoft Office PowerPoint</Application>
  <PresentationFormat>Widescreen</PresentationFormat>
  <Paragraphs>543</Paragraphs>
  <Slides>48</Slides>
  <Notes>4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8</vt:i4>
      </vt:variant>
    </vt:vector>
  </HeadingPairs>
  <TitlesOfParts>
    <vt:vector size="53" baseType="lpstr">
      <vt:lpstr>Arial</vt:lpstr>
      <vt:lpstr>Calibri</vt:lpstr>
      <vt:lpstr>Cascadia Mono</vt:lpstr>
      <vt:lpstr>bbv template EN</vt:lpstr>
      <vt:lpstr>think-cell Slide</vt:lpstr>
      <vt:lpstr>PowerPoint Presentation</vt:lpstr>
      <vt:lpstr>Google Drive Database Design</vt:lpstr>
      <vt:lpstr>Agenda</vt:lpstr>
      <vt:lpstr>Google Drive functions and database design as followed</vt:lpstr>
      <vt:lpstr>First Screen</vt:lpstr>
      <vt:lpstr>First Screen</vt:lpstr>
      <vt:lpstr>Database Structure For First Screen</vt:lpstr>
      <vt:lpstr>PowerPoint Presentation</vt:lpstr>
      <vt:lpstr>PowerPoint Presentation</vt:lpstr>
      <vt:lpstr>PowerPoint Presentation</vt:lpstr>
      <vt:lpstr>PowerPoint Presentation</vt:lpstr>
      <vt:lpstr>Table For Setting Feature</vt:lpstr>
      <vt:lpstr>Table For Setting Feature</vt:lpstr>
      <vt:lpstr>Setting Sample Dat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duct UI</vt:lpstr>
      <vt:lpstr>Table for Product Feature</vt:lpstr>
      <vt:lpstr>PowerPoint Presentation</vt:lpstr>
      <vt:lpstr>PowerPoint Presentation</vt:lpstr>
      <vt:lpstr>Resolve permission problem in Google Drive</vt:lpstr>
      <vt:lpstr>Share</vt:lpstr>
      <vt:lpstr>Table for Share feature</vt:lpstr>
      <vt:lpstr>Add column “Path” to table folder</vt:lpstr>
      <vt:lpstr>PowerPoint Presentation</vt:lpstr>
      <vt:lpstr>PowerPoint Presentation</vt:lpstr>
      <vt:lpstr>PowerPoint Presentation</vt:lpstr>
      <vt:lpstr>Full-text Search with BM25</vt:lpstr>
      <vt:lpstr>WHAT IS BM25 ?</vt:lpstr>
      <vt:lpstr>PowerPoint Presentation</vt:lpstr>
      <vt:lpstr>PowerPoint Presentation</vt:lpstr>
      <vt:lpstr>HOW DOES IT WORKS ? </vt:lpstr>
      <vt:lpstr>Tokenization</vt:lpstr>
      <vt:lpstr>Caculate IDF ( InverseIndexFrequency) </vt:lpstr>
      <vt:lpstr>TF (TermFrequency)</vt:lpstr>
      <vt:lpstr>Total Score</vt:lpstr>
      <vt:lpstr>SQL Implement Full Text Search BM25</vt:lpstr>
      <vt:lpstr>SQL Implement Full Text Search BM25</vt:lpstr>
      <vt:lpstr>SQL Implement Full Text Search BM25</vt:lpstr>
      <vt:lpstr>Q&amp;A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o Trong Vo</dc:creator>
  <cp:lastModifiedBy>khiem tran</cp:lastModifiedBy>
  <cp:revision>23</cp:revision>
  <dcterms:created xsi:type="dcterms:W3CDTF">2025-07-10T03:51:23Z</dcterms:created>
  <dcterms:modified xsi:type="dcterms:W3CDTF">2025-08-12T16:31:46Z</dcterms:modified>
</cp:coreProperties>
</file>